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  <p:sldId id="260" r:id="rId4"/>
    <p:sldId id="261" r:id="rId5"/>
    <p:sldId id="262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9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14F6F-662D-4F55-A186-70F0349965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EC7BAD-5E6B-4B98-A3B0-4D249905C1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63A3CC-746F-44E3-B5CB-487EDFECC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7A4EE-A9D9-4F70-8252-CB563DF23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5A8F15-1F86-4968-9832-CA30B0D81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25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0821D4-D825-4E61-8178-454B55C30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53E67C-790E-4F7C-85CA-146AE3EA2F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1B0E2C-EBE2-441B-AF42-9B3346A46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A3EBD5-5C88-4D1F-ADA0-A9DD7F16C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1FAF55-1CBF-4317-A5D8-BACC27327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7785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21CE5B-FFE4-497F-859B-67502F8C1A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CFBB9A-337E-497E-BF68-35ACE752DF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731099-D3E7-4432-BAE5-1F66111D6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26A469-19CA-40A0-9B27-55F5E91A4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F15614-BD66-48DA-BBCA-476FEB897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663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697175-A418-4AB0-B0A6-594F50823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F8A12-5416-456D-863F-243B842E93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11C492-BB76-4C40-AB4E-AF0F7846B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A11DE-A95A-4431-A4BF-FD9A0B73E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08C6C3-525A-44BA-A096-3FB19CFB2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16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54C10-98D5-4865-8B8D-43F6227C7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F4CBCA-67B7-4CA9-8008-C32ACB487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809850-8879-4070-9643-06043D46F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31F5BD-160B-4F2B-A82D-F2C1BAAEA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A7AE6-9F69-4C43-8607-3F30B8CAA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187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10B0C-7202-4054-8DC2-C26AEE56A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4B72E7-4B85-4CDF-85A4-B475885F31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4C897F-1E7C-48BB-BB4F-3DCB625ED0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929E48-A684-4729-9C96-3C08ECC19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EEA8EC-72BC-416B-B540-3BB9C534D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4CBBA9-A732-4C64-B51F-823DFA1C5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850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5ACEF-C51B-4E0B-9E80-253A359D8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CC7DCF-946D-43B0-8F8F-1002DCA06A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15783E-F95B-41D6-9A53-416D996CE7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798E50-2826-4028-8B3B-A04DC00780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AA94D6-6F61-4541-A176-A6AA22BF49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1C2D6C-4777-4B36-B9B7-1D3485CA34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2BB4B8-14D4-42AA-BFDA-49E7556FD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9A83CE-497C-4CC6-A65D-1030CB01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72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EFFAA8-5AFD-41A4-BEAB-00071295D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D60421-C09E-4CEE-BFAA-D8BDF69FEA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429CAE-49C0-4AFD-9A5F-F954A72F2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0A8B3-ED4B-4404-B984-BE86CC175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0054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E58218-D301-4FB8-A5F2-B83DE105C0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5F3589-2224-414D-9836-80E04D7E1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8A3A4F-DBEB-4E4D-9B0C-7DC53CE05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119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F5550-3962-4CCC-B28F-34431BA51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852695-D310-44A1-86A7-95CF13623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496F84-6EC1-42D5-B188-DDF4B2BC56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6EF4E6-FE64-4952-9471-19EA082DB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AFC0A3-79BB-41FF-8871-9DEC2363D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49364D-4A27-41E7-8406-B98AECE07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538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137DB-8262-4D67-9C8D-BFEFFECE7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5A71E21-BCB2-4D6A-8864-F59FAE8B9C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9C27B8-7DFE-4CF3-9E65-A8E4559F4C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14B5C4-1D90-4689-8FD1-43B2534ED4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06A1C1-AB09-4539-849C-AF7CCDD39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02C511-97C7-4C73-A7EA-222BD117C7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567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694A94-A91A-4ABC-84BA-82D9562927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2319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5A8975F-A9DD-4DB6-BF13-3546B607D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0255AD-EB40-4C5F-A44B-50B13F8299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879BE-75C8-4DC3-9E87-B805860AE1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21EACC-6630-4DD4-8B97-FC62AAF4A981}" type="datetimeFigureOut">
              <a:rPr lang="en-US" smtClean="0"/>
              <a:t>6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E55BA2-E2C0-47FD-B5A6-D43F0F684D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15F0B5-C283-4E03-B98E-18F03C533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867AA-CF62-4C56-B318-DE6636B0B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055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3E9B38C-25F6-4CF6-9655-D7FA82BDE9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6075"/>
            <a:ext cx="12192000" cy="6165850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7D1AE9C4-D6A7-4071-9B10-FC23EF844256}"/>
              </a:ext>
            </a:extLst>
          </p:cNvPr>
          <p:cNvSpPr/>
          <p:nvPr/>
        </p:nvSpPr>
        <p:spPr>
          <a:xfrm>
            <a:off x="1587744" y="849686"/>
            <a:ext cx="5788705" cy="4227068"/>
          </a:xfrm>
          <a:custGeom>
            <a:avLst/>
            <a:gdLst>
              <a:gd name="connsiteX0" fmla="*/ 0 w 5365630"/>
              <a:gd name="connsiteY0" fmla="*/ 5158596 h 5158596"/>
              <a:gd name="connsiteX1" fmla="*/ 1440611 w 5365630"/>
              <a:gd name="connsiteY1" fmla="*/ 4218317 h 5158596"/>
              <a:gd name="connsiteX2" fmla="*/ 2777706 w 5365630"/>
              <a:gd name="connsiteY2" fmla="*/ 3053751 h 5158596"/>
              <a:gd name="connsiteX3" fmla="*/ 4451230 w 5365630"/>
              <a:gd name="connsiteY3" fmla="*/ 1492370 h 5158596"/>
              <a:gd name="connsiteX4" fmla="*/ 5365630 w 5365630"/>
              <a:gd name="connsiteY4" fmla="*/ 0 h 5158596"/>
              <a:gd name="connsiteX5" fmla="*/ 5365630 w 5365630"/>
              <a:gd name="connsiteY5" fmla="*/ 0 h 5158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65630" h="5158596">
                <a:moveTo>
                  <a:pt x="0" y="5158596"/>
                </a:moveTo>
                <a:cubicBezTo>
                  <a:pt x="488830" y="4863860"/>
                  <a:pt x="977660" y="4569124"/>
                  <a:pt x="1440611" y="4218317"/>
                </a:cubicBezTo>
                <a:cubicBezTo>
                  <a:pt x="1903562" y="3867510"/>
                  <a:pt x="2275936" y="3508075"/>
                  <a:pt x="2777706" y="3053751"/>
                </a:cubicBezTo>
                <a:cubicBezTo>
                  <a:pt x="3279476" y="2599426"/>
                  <a:pt x="4019909" y="2001328"/>
                  <a:pt x="4451230" y="1492370"/>
                </a:cubicBezTo>
                <a:cubicBezTo>
                  <a:pt x="4882551" y="983411"/>
                  <a:pt x="5365630" y="0"/>
                  <a:pt x="5365630" y="0"/>
                </a:cubicBezTo>
                <a:lnTo>
                  <a:pt x="5365630" y="0"/>
                </a:lnTo>
              </a:path>
            </a:pathLst>
          </a:custGeom>
          <a:noFill/>
          <a:ln w="285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CB9F464-70D5-45D1-BDBD-461673EB1B21}"/>
              </a:ext>
            </a:extLst>
          </p:cNvPr>
          <p:cNvSpPr/>
          <p:nvPr/>
        </p:nvSpPr>
        <p:spPr>
          <a:xfrm>
            <a:off x="7376449" y="824410"/>
            <a:ext cx="3548726" cy="890770"/>
          </a:xfrm>
          <a:custGeom>
            <a:avLst/>
            <a:gdLst>
              <a:gd name="connsiteX0" fmla="*/ 0 w 2877353"/>
              <a:gd name="connsiteY0" fmla="*/ 26425 h 4851017"/>
              <a:gd name="connsiteX1" fmla="*/ 589084 w 2877353"/>
              <a:gd name="connsiteY1" fmla="*/ 17632 h 4851017"/>
              <a:gd name="connsiteX2" fmla="*/ 1503484 w 2877353"/>
              <a:gd name="connsiteY2" fmla="*/ 228648 h 4851017"/>
              <a:gd name="connsiteX3" fmla="*/ 1951892 w 2877353"/>
              <a:gd name="connsiteY3" fmla="*/ 378117 h 4851017"/>
              <a:gd name="connsiteX4" fmla="*/ 2479430 w 2877353"/>
              <a:gd name="connsiteY4" fmla="*/ 826525 h 4851017"/>
              <a:gd name="connsiteX5" fmla="*/ 2795954 w 2877353"/>
              <a:gd name="connsiteY5" fmla="*/ 1635417 h 4851017"/>
              <a:gd name="connsiteX6" fmla="*/ 2875084 w 2877353"/>
              <a:gd name="connsiteY6" fmla="*/ 2804794 h 4851017"/>
              <a:gd name="connsiteX7" fmla="*/ 2857500 w 2877353"/>
              <a:gd name="connsiteY7" fmla="*/ 4668763 h 4851017"/>
              <a:gd name="connsiteX8" fmla="*/ 2875084 w 2877353"/>
              <a:gd name="connsiteY8" fmla="*/ 4677555 h 4851017"/>
              <a:gd name="connsiteX0" fmla="*/ 0 w 2877353"/>
              <a:gd name="connsiteY0" fmla="*/ 26425 h 4668763"/>
              <a:gd name="connsiteX1" fmla="*/ 589084 w 2877353"/>
              <a:gd name="connsiteY1" fmla="*/ 17632 h 4668763"/>
              <a:gd name="connsiteX2" fmla="*/ 1503484 w 2877353"/>
              <a:gd name="connsiteY2" fmla="*/ 228648 h 4668763"/>
              <a:gd name="connsiteX3" fmla="*/ 1951892 w 2877353"/>
              <a:gd name="connsiteY3" fmla="*/ 378117 h 4668763"/>
              <a:gd name="connsiteX4" fmla="*/ 2479430 w 2877353"/>
              <a:gd name="connsiteY4" fmla="*/ 826525 h 4668763"/>
              <a:gd name="connsiteX5" fmla="*/ 2795954 w 2877353"/>
              <a:gd name="connsiteY5" fmla="*/ 1635417 h 4668763"/>
              <a:gd name="connsiteX6" fmla="*/ 2875084 w 2877353"/>
              <a:gd name="connsiteY6" fmla="*/ 2804794 h 4668763"/>
              <a:gd name="connsiteX7" fmla="*/ 2857500 w 2877353"/>
              <a:gd name="connsiteY7" fmla="*/ 4668763 h 4668763"/>
              <a:gd name="connsiteX0" fmla="*/ 0 w 2875084"/>
              <a:gd name="connsiteY0" fmla="*/ 26425 h 2804794"/>
              <a:gd name="connsiteX1" fmla="*/ 589084 w 2875084"/>
              <a:gd name="connsiteY1" fmla="*/ 17632 h 2804794"/>
              <a:gd name="connsiteX2" fmla="*/ 1503484 w 2875084"/>
              <a:gd name="connsiteY2" fmla="*/ 228648 h 2804794"/>
              <a:gd name="connsiteX3" fmla="*/ 1951892 w 2875084"/>
              <a:gd name="connsiteY3" fmla="*/ 378117 h 2804794"/>
              <a:gd name="connsiteX4" fmla="*/ 2479430 w 2875084"/>
              <a:gd name="connsiteY4" fmla="*/ 826525 h 2804794"/>
              <a:gd name="connsiteX5" fmla="*/ 2795954 w 2875084"/>
              <a:gd name="connsiteY5" fmla="*/ 1635417 h 2804794"/>
              <a:gd name="connsiteX6" fmla="*/ 2875084 w 2875084"/>
              <a:gd name="connsiteY6" fmla="*/ 2804794 h 2804794"/>
              <a:gd name="connsiteX0" fmla="*/ 0 w 2795954"/>
              <a:gd name="connsiteY0" fmla="*/ 26425 h 1635417"/>
              <a:gd name="connsiteX1" fmla="*/ 589084 w 2795954"/>
              <a:gd name="connsiteY1" fmla="*/ 17632 h 1635417"/>
              <a:gd name="connsiteX2" fmla="*/ 1503484 w 2795954"/>
              <a:gd name="connsiteY2" fmla="*/ 228648 h 1635417"/>
              <a:gd name="connsiteX3" fmla="*/ 1951892 w 2795954"/>
              <a:gd name="connsiteY3" fmla="*/ 378117 h 1635417"/>
              <a:gd name="connsiteX4" fmla="*/ 2479430 w 2795954"/>
              <a:gd name="connsiteY4" fmla="*/ 826525 h 1635417"/>
              <a:gd name="connsiteX5" fmla="*/ 2795954 w 2795954"/>
              <a:gd name="connsiteY5" fmla="*/ 1635417 h 1635417"/>
              <a:gd name="connsiteX0" fmla="*/ 0 w 2479430"/>
              <a:gd name="connsiteY0" fmla="*/ 26425 h 826525"/>
              <a:gd name="connsiteX1" fmla="*/ 589084 w 2479430"/>
              <a:gd name="connsiteY1" fmla="*/ 17632 h 826525"/>
              <a:gd name="connsiteX2" fmla="*/ 1503484 w 2479430"/>
              <a:gd name="connsiteY2" fmla="*/ 228648 h 826525"/>
              <a:gd name="connsiteX3" fmla="*/ 1951892 w 2479430"/>
              <a:gd name="connsiteY3" fmla="*/ 378117 h 826525"/>
              <a:gd name="connsiteX4" fmla="*/ 2479430 w 2479430"/>
              <a:gd name="connsiteY4" fmla="*/ 826525 h 82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9430" h="826525">
                <a:moveTo>
                  <a:pt x="0" y="26425"/>
                </a:moveTo>
                <a:cubicBezTo>
                  <a:pt x="169251" y="5176"/>
                  <a:pt x="338503" y="-16072"/>
                  <a:pt x="589084" y="17632"/>
                </a:cubicBezTo>
                <a:cubicBezTo>
                  <a:pt x="839665" y="51336"/>
                  <a:pt x="1276349" y="168567"/>
                  <a:pt x="1503484" y="228648"/>
                </a:cubicBezTo>
                <a:cubicBezTo>
                  <a:pt x="1730619" y="288729"/>
                  <a:pt x="1789234" y="278471"/>
                  <a:pt x="1951892" y="378117"/>
                </a:cubicBezTo>
                <a:cubicBezTo>
                  <a:pt x="2114550" y="477763"/>
                  <a:pt x="2338753" y="616975"/>
                  <a:pt x="2479430" y="826525"/>
                </a:cubicBezTo>
              </a:path>
            </a:pathLst>
          </a:custGeom>
          <a:noFill/>
          <a:ln w="285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E6B4B1B-5C48-46C2-AAC5-9803EF52B75C}"/>
              </a:ext>
            </a:extLst>
          </p:cNvPr>
          <p:cNvSpPr/>
          <p:nvPr/>
        </p:nvSpPr>
        <p:spPr>
          <a:xfrm>
            <a:off x="6438230" y="1976765"/>
            <a:ext cx="4278607" cy="1971484"/>
          </a:xfrm>
          <a:custGeom>
            <a:avLst/>
            <a:gdLst>
              <a:gd name="connsiteX0" fmla="*/ 0 w 3156438"/>
              <a:gd name="connsiteY0" fmla="*/ 44456 h 3367948"/>
              <a:gd name="connsiteX1" fmla="*/ 448407 w 3156438"/>
              <a:gd name="connsiteY1" fmla="*/ 9287 h 3367948"/>
              <a:gd name="connsiteX2" fmla="*/ 993530 w 3156438"/>
              <a:gd name="connsiteY2" fmla="*/ 9287 h 3367948"/>
              <a:gd name="connsiteX3" fmla="*/ 1450730 w 3156438"/>
              <a:gd name="connsiteY3" fmla="*/ 114794 h 3367948"/>
              <a:gd name="connsiteX4" fmla="*/ 1987061 w 3156438"/>
              <a:gd name="connsiteY4" fmla="*/ 308225 h 3367948"/>
              <a:gd name="connsiteX5" fmla="*/ 2532184 w 3156438"/>
              <a:gd name="connsiteY5" fmla="*/ 774217 h 3367948"/>
              <a:gd name="connsiteX6" fmla="*/ 2804746 w 3156438"/>
              <a:gd name="connsiteY6" fmla="*/ 1152287 h 3367948"/>
              <a:gd name="connsiteX7" fmla="*/ 2989384 w 3156438"/>
              <a:gd name="connsiteY7" fmla="*/ 1829294 h 3367948"/>
              <a:gd name="connsiteX8" fmla="*/ 3059723 w 3156438"/>
              <a:gd name="connsiteY8" fmla="*/ 2435964 h 3367948"/>
              <a:gd name="connsiteX9" fmla="*/ 3156438 w 3156438"/>
              <a:gd name="connsiteY9" fmla="*/ 3367948 h 3367948"/>
              <a:gd name="connsiteX0" fmla="*/ 0 w 3059723"/>
              <a:gd name="connsiteY0" fmla="*/ 44456 h 2435964"/>
              <a:gd name="connsiteX1" fmla="*/ 448407 w 3059723"/>
              <a:gd name="connsiteY1" fmla="*/ 9287 h 2435964"/>
              <a:gd name="connsiteX2" fmla="*/ 993530 w 3059723"/>
              <a:gd name="connsiteY2" fmla="*/ 9287 h 2435964"/>
              <a:gd name="connsiteX3" fmla="*/ 1450730 w 3059723"/>
              <a:gd name="connsiteY3" fmla="*/ 114794 h 2435964"/>
              <a:gd name="connsiteX4" fmla="*/ 1987061 w 3059723"/>
              <a:gd name="connsiteY4" fmla="*/ 308225 h 2435964"/>
              <a:gd name="connsiteX5" fmla="*/ 2532184 w 3059723"/>
              <a:gd name="connsiteY5" fmla="*/ 774217 h 2435964"/>
              <a:gd name="connsiteX6" fmla="*/ 2804746 w 3059723"/>
              <a:gd name="connsiteY6" fmla="*/ 1152287 h 2435964"/>
              <a:gd name="connsiteX7" fmla="*/ 2989384 w 3059723"/>
              <a:gd name="connsiteY7" fmla="*/ 1829294 h 2435964"/>
              <a:gd name="connsiteX8" fmla="*/ 3059723 w 3059723"/>
              <a:gd name="connsiteY8" fmla="*/ 2435964 h 2435964"/>
              <a:gd name="connsiteX0" fmla="*/ 0 w 2989384"/>
              <a:gd name="connsiteY0" fmla="*/ 44456 h 1829294"/>
              <a:gd name="connsiteX1" fmla="*/ 448407 w 2989384"/>
              <a:gd name="connsiteY1" fmla="*/ 9287 h 1829294"/>
              <a:gd name="connsiteX2" fmla="*/ 993530 w 2989384"/>
              <a:gd name="connsiteY2" fmla="*/ 9287 h 1829294"/>
              <a:gd name="connsiteX3" fmla="*/ 1450730 w 2989384"/>
              <a:gd name="connsiteY3" fmla="*/ 114794 h 1829294"/>
              <a:gd name="connsiteX4" fmla="*/ 1987061 w 2989384"/>
              <a:gd name="connsiteY4" fmla="*/ 308225 h 1829294"/>
              <a:gd name="connsiteX5" fmla="*/ 2532184 w 2989384"/>
              <a:gd name="connsiteY5" fmla="*/ 774217 h 1829294"/>
              <a:gd name="connsiteX6" fmla="*/ 2804746 w 2989384"/>
              <a:gd name="connsiteY6" fmla="*/ 1152287 h 1829294"/>
              <a:gd name="connsiteX7" fmla="*/ 2989384 w 2989384"/>
              <a:gd name="connsiteY7" fmla="*/ 1829294 h 18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89384" h="1829294">
                <a:moveTo>
                  <a:pt x="0" y="44456"/>
                </a:moveTo>
                <a:cubicBezTo>
                  <a:pt x="141409" y="29802"/>
                  <a:pt x="282819" y="15148"/>
                  <a:pt x="448407" y="9287"/>
                </a:cubicBezTo>
                <a:cubicBezTo>
                  <a:pt x="613995" y="3425"/>
                  <a:pt x="826476" y="-8298"/>
                  <a:pt x="993530" y="9287"/>
                </a:cubicBezTo>
                <a:cubicBezTo>
                  <a:pt x="1160584" y="26871"/>
                  <a:pt x="1285142" y="64971"/>
                  <a:pt x="1450730" y="114794"/>
                </a:cubicBezTo>
                <a:cubicBezTo>
                  <a:pt x="1616318" y="164617"/>
                  <a:pt x="1806819" y="198321"/>
                  <a:pt x="1987061" y="308225"/>
                </a:cubicBezTo>
                <a:cubicBezTo>
                  <a:pt x="2167303" y="418129"/>
                  <a:pt x="2395903" y="633540"/>
                  <a:pt x="2532184" y="774217"/>
                </a:cubicBezTo>
                <a:cubicBezTo>
                  <a:pt x="2668465" y="914894"/>
                  <a:pt x="2728546" y="976441"/>
                  <a:pt x="2804746" y="1152287"/>
                </a:cubicBezTo>
                <a:cubicBezTo>
                  <a:pt x="2880946" y="1328133"/>
                  <a:pt x="2946888" y="1615348"/>
                  <a:pt x="2989384" y="1829294"/>
                </a:cubicBezTo>
              </a:path>
            </a:pathLst>
          </a:custGeom>
          <a:noFill/>
          <a:ln w="285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5AADB97-2F95-4012-AD96-A850A1F1A639}"/>
              </a:ext>
            </a:extLst>
          </p:cNvPr>
          <p:cNvSpPr/>
          <p:nvPr/>
        </p:nvSpPr>
        <p:spPr>
          <a:xfrm>
            <a:off x="4270260" y="3512293"/>
            <a:ext cx="5436348" cy="1535140"/>
          </a:xfrm>
          <a:custGeom>
            <a:avLst/>
            <a:gdLst>
              <a:gd name="connsiteX0" fmla="*/ 0 w 4167553"/>
              <a:gd name="connsiteY0" fmla="*/ 44029 h 2004713"/>
              <a:gd name="connsiteX1" fmla="*/ 870438 w 4167553"/>
              <a:gd name="connsiteY1" fmla="*/ 67 h 2004713"/>
              <a:gd name="connsiteX2" fmla="*/ 1696915 w 4167553"/>
              <a:gd name="connsiteY2" fmla="*/ 52821 h 2004713"/>
              <a:gd name="connsiteX3" fmla="*/ 2435469 w 4167553"/>
              <a:gd name="connsiteY3" fmla="*/ 272629 h 2004713"/>
              <a:gd name="connsiteX4" fmla="*/ 2980592 w 4167553"/>
              <a:gd name="connsiteY4" fmla="*/ 589152 h 2004713"/>
              <a:gd name="connsiteX5" fmla="*/ 3402623 w 4167553"/>
              <a:gd name="connsiteY5" fmla="*/ 923259 h 2004713"/>
              <a:gd name="connsiteX6" fmla="*/ 3798277 w 4167553"/>
              <a:gd name="connsiteY6" fmla="*/ 1424421 h 2004713"/>
              <a:gd name="connsiteX7" fmla="*/ 4167553 w 4167553"/>
              <a:gd name="connsiteY7" fmla="*/ 2004713 h 2004713"/>
              <a:gd name="connsiteX0" fmla="*/ 0 w 3798277"/>
              <a:gd name="connsiteY0" fmla="*/ 44029 h 1424421"/>
              <a:gd name="connsiteX1" fmla="*/ 870438 w 3798277"/>
              <a:gd name="connsiteY1" fmla="*/ 67 h 1424421"/>
              <a:gd name="connsiteX2" fmla="*/ 1696915 w 3798277"/>
              <a:gd name="connsiteY2" fmla="*/ 52821 h 1424421"/>
              <a:gd name="connsiteX3" fmla="*/ 2435469 w 3798277"/>
              <a:gd name="connsiteY3" fmla="*/ 272629 h 1424421"/>
              <a:gd name="connsiteX4" fmla="*/ 2980592 w 3798277"/>
              <a:gd name="connsiteY4" fmla="*/ 589152 h 1424421"/>
              <a:gd name="connsiteX5" fmla="*/ 3402623 w 3798277"/>
              <a:gd name="connsiteY5" fmla="*/ 923259 h 1424421"/>
              <a:gd name="connsiteX6" fmla="*/ 3798277 w 3798277"/>
              <a:gd name="connsiteY6" fmla="*/ 1424421 h 142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98277" h="1424421">
                <a:moveTo>
                  <a:pt x="0" y="44029"/>
                </a:moveTo>
                <a:cubicBezTo>
                  <a:pt x="293809" y="21315"/>
                  <a:pt x="587619" y="-1398"/>
                  <a:pt x="870438" y="67"/>
                </a:cubicBezTo>
                <a:cubicBezTo>
                  <a:pt x="1153257" y="1532"/>
                  <a:pt x="1436076" y="7394"/>
                  <a:pt x="1696915" y="52821"/>
                </a:cubicBezTo>
                <a:cubicBezTo>
                  <a:pt x="1957754" y="98248"/>
                  <a:pt x="2221523" y="183241"/>
                  <a:pt x="2435469" y="272629"/>
                </a:cubicBezTo>
                <a:cubicBezTo>
                  <a:pt x="2649415" y="362018"/>
                  <a:pt x="2819400" y="480714"/>
                  <a:pt x="2980592" y="589152"/>
                </a:cubicBezTo>
                <a:cubicBezTo>
                  <a:pt x="3141784" y="697590"/>
                  <a:pt x="3266342" y="784048"/>
                  <a:pt x="3402623" y="923259"/>
                </a:cubicBezTo>
                <a:cubicBezTo>
                  <a:pt x="3538904" y="1062470"/>
                  <a:pt x="3670789" y="1244179"/>
                  <a:pt x="3798277" y="1424421"/>
                </a:cubicBezTo>
              </a:path>
            </a:pathLst>
          </a:custGeom>
          <a:noFill/>
          <a:ln w="285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63C1FF4-9FF3-425C-A4B6-3A7396D5734F}"/>
              </a:ext>
            </a:extLst>
          </p:cNvPr>
          <p:cNvSpPr/>
          <p:nvPr/>
        </p:nvSpPr>
        <p:spPr>
          <a:xfrm>
            <a:off x="2279872" y="4753685"/>
            <a:ext cx="5398596" cy="957050"/>
          </a:xfrm>
          <a:custGeom>
            <a:avLst/>
            <a:gdLst>
              <a:gd name="connsiteX0" fmla="*/ 0 w 3771900"/>
              <a:gd name="connsiteY0" fmla="*/ 0 h 888024"/>
              <a:gd name="connsiteX1" fmla="*/ 641839 w 3771900"/>
              <a:gd name="connsiteY1" fmla="*/ 8793 h 888024"/>
              <a:gd name="connsiteX2" fmla="*/ 1494693 w 3771900"/>
              <a:gd name="connsiteY2" fmla="*/ 61547 h 888024"/>
              <a:gd name="connsiteX3" fmla="*/ 2180493 w 3771900"/>
              <a:gd name="connsiteY3" fmla="*/ 202224 h 888024"/>
              <a:gd name="connsiteX4" fmla="*/ 2875085 w 3771900"/>
              <a:gd name="connsiteY4" fmla="*/ 430824 h 888024"/>
              <a:gd name="connsiteX5" fmla="*/ 3613639 w 3771900"/>
              <a:gd name="connsiteY5" fmla="*/ 808893 h 888024"/>
              <a:gd name="connsiteX6" fmla="*/ 3771900 w 3771900"/>
              <a:gd name="connsiteY6" fmla="*/ 888024 h 88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1900" h="888024">
                <a:moveTo>
                  <a:pt x="0" y="0"/>
                </a:moveTo>
                <a:lnTo>
                  <a:pt x="641839" y="8793"/>
                </a:lnTo>
                <a:cubicBezTo>
                  <a:pt x="890954" y="19051"/>
                  <a:pt x="1238251" y="29309"/>
                  <a:pt x="1494693" y="61547"/>
                </a:cubicBezTo>
                <a:cubicBezTo>
                  <a:pt x="1751135" y="93785"/>
                  <a:pt x="1950428" y="140678"/>
                  <a:pt x="2180493" y="202224"/>
                </a:cubicBezTo>
                <a:cubicBezTo>
                  <a:pt x="2410558" y="263770"/>
                  <a:pt x="2636227" y="329713"/>
                  <a:pt x="2875085" y="430824"/>
                </a:cubicBezTo>
                <a:cubicBezTo>
                  <a:pt x="3113943" y="531935"/>
                  <a:pt x="3613639" y="808893"/>
                  <a:pt x="3613639" y="808893"/>
                </a:cubicBezTo>
                <a:lnTo>
                  <a:pt x="3771900" y="888024"/>
                </a:lnTo>
              </a:path>
            </a:pathLst>
          </a:custGeom>
          <a:noFill/>
          <a:ln w="285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175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D530F253-529B-4B62-8944-7362D83B39E1}"/>
              </a:ext>
            </a:extLst>
          </p:cNvPr>
          <p:cNvGrpSpPr/>
          <p:nvPr/>
        </p:nvGrpSpPr>
        <p:grpSpPr>
          <a:xfrm>
            <a:off x="0" y="346075"/>
            <a:ext cx="12192000" cy="6165850"/>
            <a:chOff x="0" y="346075"/>
            <a:chExt cx="12192000" cy="616585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3E9B38C-25F6-4CF6-9655-D7FA82BDE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346075"/>
              <a:ext cx="12192000" cy="6165850"/>
            </a:xfrm>
            <a:prstGeom prst="rect">
              <a:avLst/>
            </a:prstGeom>
          </p:spPr>
        </p:pic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D1AE9C4-D6A7-4071-9B10-FC23EF844256}"/>
                </a:ext>
              </a:extLst>
            </p:cNvPr>
            <p:cNvSpPr/>
            <p:nvPr/>
          </p:nvSpPr>
          <p:spPr>
            <a:xfrm>
              <a:off x="1587744" y="849686"/>
              <a:ext cx="5788705" cy="4227068"/>
            </a:xfrm>
            <a:custGeom>
              <a:avLst/>
              <a:gdLst>
                <a:gd name="connsiteX0" fmla="*/ 0 w 5365630"/>
                <a:gd name="connsiteY0" fmla="*/ 5158596 h 5158596"/>
                <a:gd name="connsiteX1" fmla="*/ 1440611 w 5365630"/>
                <a:gd name="connsiteY1" fmla="*/ 4218317 h 5158596"/>
                <a:gd name="connsiteX2" fmla="*/ 2777706 w 5365630"/>
                <a:gd name="connsiteY2" fmla="*/ 3053751 h 5158596"/>
                <a:gd name="connsiteX3" fmla="*/ 4451230 w 5365630"/>
                <a:gd name="connsiteY3" fmla="*/ 1492370 h 5158596"/>
                <a:gd name="connsiteX4" fmla="*/ 5365630 w 5365630"/>
                <a:gd name="connsiteY4" fmla="*/ 0 h 5158596"/>
                <a:gd name="connsiteX5" fmla="*/ 5365630 w 5365630"/>
                <a:gd name="connsiteY5" fmla="*/ 0 h 515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65630" h="5158596">
                  <a:moveTo>
                    <a:pt x="0" y="5158596"/>
                  </a:moveTo>
                  <a:cubicBezTo>
                    <a:pt x="488830" y="4863860"/>
                    <a:pt x="977660" y="4569124"/>
                    <a:pt x="1440611" y="4218317"/>
                  </a:cubicBezTo>
                  <a:cubicBezTo>
                    <a:pt x="1903562" y="3867510"/>
                    <a:pt x="2275936" y="3508075"/>
                    <a:pt x="2777706" y="3053751"/>
                  </a:cubicBezTo>
                  <a:cubicBezTo>
                    <a:pt x="3279476" y="2599426"/>
                    <a:pt x="4019909" y="2001328"/>
                    <a:pt x="4451230" y="1492370"/>
                  </a:cubicBezTo>
                  <a:cubicBezTo>
                    <a:pt x="4882551" y="983411"/>
                    <a:pt x="5365630" y="0"/>
                    <a:pt x="5365630" y="0"/>
                  </a:cubicBezTo>
                  <a:lnTo>
                    <a:pt x="5365630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CB9F464-70D5-45D1-BDBD-461673EB1B21}"/>
                </a:ext>
              </a:extLst>
            </p:cNvPr>
            <p:cNvSpPr/>
            <p:nvPr/>
          </p:nvSpPr>
          <p:spPr>
            <a:xfrm>
              <a:off x="7376449" y="824410"/>
              <a:ext cx="3548726" cy="890770"/>
            </a:xfrm>
            <a:custGeom>
              <a:avLst/>
              <a:gdLst>
                <a:gd name="connsiteX0" fmla="*/ 0 w 2877353"/>
                <a:gd name="connsiteY0" fmla="*/ 26425 h 4851017"/>
                <a:gd name="connsiteX1" fmla="*/ 589084 w 2877353"/>
                <a:gd name="connsiteY1" fmla="*/ 17632 h 4851017"/>
                <a:gd name="connsiteX2" fmla="*/ 1503484 w 2877353"/>
                <a:gd name="connsiteY2" fmla="*/ 228648 h 4851017"/>
                <a:gd name="connsiteX3" fmla="*/ 1951892 w 2877353"/>
                <a:gd name="connsiteY3" fmla="*/ 378117 h 4851017"/>
                <a:gd name="connsiteX4" fmla="*/ 2479430 w 2877353"/>
                <a:gd name="connsiteY4" fmla="*/ 826525 h 4851017"/>
                <a:gd name="connsiteX5" fmla="*/ 2795954 w 2877353"/>
                <a:gd name="connsiteY5" fmla="*/ 1635417 h 4851017"/>
                <a:gd name="connsiteX6" fmla="*/ 2875084 w 2877353"/>
                <a:gd name="connsiteY6" fmla="*/ 2804794 h 4851017"/>
                <a:gd name="connsiteX7" fmla="*/ 2857500 w 2877353"/>
                <a:gd name="connsiteY7" fmla="*/ 4668763 h 4851017"/>
                <a:gd name="connsiteX8" fmla="*/ 2875084 w 2877353"/>
                <a:gd name="connsiteY8" fmla="*/ 4677555 h 4851017"/>
                <a:gd name="connsiteX0" fmla="*/ 0 w 2877353"/>
                <a:gd name="connsiteY0" fmla="*/ 26425 h 4668763"/>
                <a:gd name="connsiteX1" fmla="*/ 589084 w 2877353"/>
                <a:gd name="connsiteY1" fmla="*/ 17632 h 4668763"/>
                <a:gd name="connsiteX2" fmla="*/ 1503484 w 2877353"/>
                <a:gd name="connsiteY2" fmla="*/ 228648 h 4668763"/>
                <a:gd name="connsiteX3" fmla="*/ 1951892 w 2877353"/>
                <a:gd name="connsiteY3" fmla="*/ 378117 h 4668763"/>
                <a:gd name="connsiteX4" fmla="*/ 2479430 w 2877353"/>
                <a:gd name="connsiteY4" fmla="*/ 826525 h 4668763"/>
                <a:gd name="connsiteX5" fmla="*/ 2795954 w 2877353"/>
                <a:gd name="connsiteY5" fmla="*/ 1635417 h 4668763"/>
                <a:gd name="connsiteX6" fmla="*/ 2875084 w 2877353"/>
                <a:gd name="connsiteY6" fmla="*/ 2804794 h 4668763"/>
                <a:gd name="connsiteX7" fmla="*/ 2857500 w 2877353"/>
                <a:gd name="connsiteY7" fmla="*/ 4668763 h 4668763"/>
                <a:gd name="connsiteX0" fmla="*/ 0 w 2875084"/>
                <a:gd name="connsiteY0" fmla="*/ 26425 h 2804794"/>
                <a:gd name="connsiteX1" fmla="*/ 589084 w 2875084"/>
                <a:gd name="connsiteY1" fmla="*/ 17632 h 2804794"/>
                <a:gd name="connsiteX2" fmla="*/ 1503484 w 2875084"/>
                <a:gd name="connsiteY2" fmla="*/ 228648 h 2804794"/>
                <a:gd name="connsiteX3" fmla="*/ 1951892 w 2875084"/>
                <a:gd name="connsiteY3" fmla="*/ 378117 h 2804794"/>
                <a:gd name="connsiteX4" fmla="*/ 2479430 w 2875084"/>
                <a:gd name="connsiteY4" fmla="*/ 826525 h 2804794"/>
                <a:gd name="connsiteX5" fmla="*/ 2795954 w 2875084"/>
                <a:gd name="connsiteY5" fmla="*/ 1635417 h 2804794"/>
                <a:gd name="connsiteX6" fmla="*/ 2875084 w 2875084"/>
                <a:gd name="connsiteY6" fmla="*/ 2804794 h 2804794"/>
                <a:gd name="connsiteX0" fmla="*/ 0 w 2795954"/>
                <a:gd name="connsiteY0" fmla="*/ 26425 h 1635417"/>
                <a:gd name="connsiteX1" fmla="*/ 589084 w 2795954"/>
                <a:gd name="connsiteY1" fmla="*/ 17632 h 1635417"/>
                <a:gd name="connsiteX2" fmla="*/ 1503484 w 2795954"/>
                <a:gd name="connsiteY2" fmla="*/ 228648 h 1635417"/>
                <a:gd name="connsiteX3" fmla="*/ 1951892 w 2795954"/>
                <a:gd name="connsiteY3" fmla="*/ 378117 h 1635417"/>
                <a:gd name="connsiteX4" fmla="*/ 2479430 w 2795954"/>
                <a:gd name="connsiteY4" fmla="*/ 826525 h 1635417"/>
                <a:gd name="connsiteX5" fmla="*/ 2795954 w 2795954"/>
                <a:gd name="connsiteY5" fmla="*/ 1635417 h 1635417"/>
                <a:gd name="connsiteX0" fmla="*/ 0 w 2479430"/>
                <a:gd name="connsiteY0" fmla="*/ 26425 h 826525"/>
                <a:gd name="connsiteX1" fmla="*/ 589084 w 2479430"/>
                <a:gd name="connsiteY1" fmla="*/ 17632 h 826525"/>
                <a:gd name="connsiteX2" fmla="*/ 1503484 w 2479430"/>
                <a:gd name="connsiteY2" fmla="*/ 228648 h 826525"/>
                <a:gd name="connsiteX3" fmla="*/ 1951892 w 2479430"/>
                <a:gd name="connsiteY3" fmla="*/ 378117 h 826525"/>
                <a:gd name="connsiteX4" fmla="*/ 2479430 w 2479430"/>
                <a:gd name="connsiteY4" fmla="*/ 826525 h 82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9430" h="826525">
                  <a:moveTo>
                    <a:pt x="0" y="26425"/>
                  </a:moveTo>
                  <a:cubicBezTo>
                    <a:pt x="169251" y="5176"/>
                    <a:pt x="338503" y="-16072"/>
                    <a:pt x="589084" y="17632"/>
                  </a:cubicBezTo>
                  <a:cubicBezTo>
                    <a:pt x="839665" y="51336"/>
                    <a:pt x="1276349" y="168567"/>
                    <a:pt x="1503484" y="228648"/>
                  </a:cubicBezTo>
                  <a:cubicBezTo>
                    <a:pt x="1730619" y="288729"/>
                    <a:pt x="1789234" y="278471"/>
                    <a:pt x="1951892" y="378117"/>
                  </a:cubicBezTo>
                  <a:cubicBezTo>
                    <a:pt x="2114550" y="477763"/>
                    <a:pt x="2338753" y="616975"/>
                    <a:pt x="2479430" y="826525"/>
                  </a:cubicBezTo>
                </a:path>
              </a:pathLst>
            </a:custGeom>
            <a:noFill/>
            <a:ln w="285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E6B4B1B-5C48-46C2-AAC5-9803EF52B75C}"/>
                </a:ext>
              </a:extLst>
            </p:cNvPr>
            <p:cNvSpPr/>
            <p:nvPr/>
          </p:nvSpPr>
          <p:spPr>
            <a:xfrm>
              <a:off x="6438230" y="1976765"/>
              <a:ext cx="4278607" cy="1971484"/>
            </a:xfrm>
            <a:custGeom>
              <a:avLst/>
              <a:gdLst>
                <a:gd name="connsiteX0" fmla="*/ 0 w 3156438"/>
                <a:gd name="connsiteY0" fmla="*/ 44456 h 3367948"/>
                <a:gd name="connsiteX1" fmla="*/ 448407 w 3156438"/>
                <a:gd name="connsiteY1" fmla="*/ 9287 h 3367948"/>
                <a:gd name="connsiteX2" fmla="*/ 993530 w 3156438"/>
                <a:gd name="connsiteY2" fmla="*/ 9287 h 3367948"/>
                <a:gd name="connsiteX3" fmla="*/ 1450730 w 3156438"/>
                <a:gd name="connsiteY3" fmla="*/ 114794 h 3367948"/>
                <a:gd name="connsiteX4" fmla="*/ 1987061 w 3156438"/>
                <a:gd name="connsiteY4" fmla="*/ 308225 h 3367948"/>
                <a:gd name="connsiteX5" fmla="*/ 2532184 w 3156438"/>
                <a:gd name="connsiteY5" fmla="*/ 774217 h 3367948"/>
                <a:gd name="connsiteX6" fmla="*/ 2804746 w 3156438"/>
                <a:gd name="connsiteY6" fmla="*/ 1152287 h 3367948"/>
                <a:gd name="connsiteX7" fmla="*/ 2989384 w 3156438"/>
                <a:gd name="connsiteY7" fmla="*/ 1829294 h 3367948"/>
                <a:gd name="connsiteX8" fmla="*/ 3059723 w 3156438"/>
                <a:gd name="connsiteY8" fmla="*/ 2435964 h 3367948"/>
                <a:gd name="connsiteX9" fmla="*/ 3156438 w 3156438"/>
                <a:gd name="connsiteY9" fmla="*/ 3367948 h 3367948"/>
                <a:gd name="connsiteX0" fmla="*/ 0 w 3059723"/>
                <a:gd name="connsiteY0" fmla="*/ 44456 h 2435964"/>
                <a:gd name="connsiteX1" fmla="*/ 448407 w 3059723"/>
                <a:gd name="connsiteY1" fmla="*/ 9287 h 2435964"/>
                <a:gd name="connsiteX2" fmla="*/ 993530 w 3059723"/>
                <a:gd name="connsiteY2" fmla="*/ 9287 h 2435964"/>
                <a:gd name="connsiteX3" fmla="*/ 1450730 w 3059723"/>
                <a:gd name="connsiteY3" fmla="*/ 114794 h 2435964"/>
                <a:gd name="connsiteX4" fmla="*/ 1987061 w 3059723"/>
                <a:gd name="connsiteY4" fmla="*/ 308225 h 2435964"/>
                <a:gd name="connsiteX5" fmla="*/ 2532184 w 3059723"/>
                <a:gd name="connsiteY5" fmla="*/ 774217 h 2435964"/>
                <a:gd name="connsiteX6" fmla="*/ 2804746 w 3059723"/>
                <a:gd name="connsiteY6" fmla="*/ 1152287 h 2435964"/>
                <a:gd name="connsiteX7" fmla="*/ 2989384 w 3059723"/>
                <a:gd name="connsiteY7" fmla="*/ 1829294 h 2435964"/>
                <a:gd name="connsiteX8" fmla="*/ 3059723 w 3059723"/>
                <a:gd name="connsiteY8" fmla="*/ 2435964 h 2435964"/>
                <a:gd name="connsiteX0" fmla="*/ 0 w 2989384"/>
                <a:gd name="connsiteY0" fmla="*/ 44456 h 1829294"/>
                <a:gd name="connsiteX1" fmla="*/ 448407 w 2989384"/>
                <a:gd name="connsiteY1" fmla="*/ 9287 h 1829294"/>
                <a:gd name="connsiteX2" fmla="*/ 993530 w 2989384"/>
                <a:gd name="connsiteY2" fmla="*/ 9287 h 1829294"/>
                <a:gd name="connsiteX3" fmla="*/ 1450730 w 2989384"/>
                <a:gd name="connsiteY3" fmla="*/ 114794 h 1829294"/>
                <a:gd name="connsiteX4" fmla="*/ 1987061 w 2989384"/>
                <a:gd name="connsiteY4" fmla="*/ 308225 h 1829294"/>
                <a:gd name="connsiteX5" fmla="*/ 2532184 w 2989384"/>
                <a:gd name="connsiteY5" fmla="*/ 774217 h 1829294"/>
                <a:gd name="connsiteX6" fmla="*/ 2804746 w 2989384"/>
                <a:gd name="connsiteY6" fmla="*/ 1152287 h 1829294"/>
                <a:gd name="connsiteX7" fmla="*/ 2989384 w 2989384"/>
                <a:gd name="connsiteY7" fmla="*/ 1829294 h 18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89384" h="1829294">
                  <a:moveTo>
                    <a:pt x="0" y="44456"/>
                  </a:moveTo>
                  <a:cubicBezTo>
                    <a:pt x="141409" y="29802"/>
                    <a:pt x="282819" y="15148"/>
                    <a:pt x="448407" y="9287"/>
                  </a:cubicBezTo>
                  <a:cubicBezTo>
                    <a:pt x="613995" y="3425"/>
                    <a:pt x="826476" y="-8298"/>
                    <a:pt x="993530" y="9287"/>
                  </a:cubicBezTo>
                  <a:cubicBezTo>
                    <a:pt x="1160584" y="26871"/>
                    <a:pt x="1285142" y="64971"/>
                    <a:pt x="1450730" y="114794"/>
                  </a:cubicBezTo>
                  <a:cubicBezTo>
                    <a:pt x="1616318" y="164617"/>
                    <a:pt x="1806819" y="198321"/>
                    <a:pt x="1987061" y="308225"/>
                  </a:cubicBezTo>
                  <a:cubicBezTo>
                    <a:pt x="2167303" y="418129"/>
                    <a:pt x="2395903" y="633540"/>
                    <a:pt x="2532184" y="774217"/>
                  </a:cubicBezTo>
                  <a:cubicBezTo>
                    <a:pt x="2668465" y="914894"/>
                    <a:pt x="2728546" y="976441"/>
                    <a:pt x="2804746" y="1152287"/>
                  </a:cubicBezTo>
                  <a:cubicBezTo>
                    <a:pt x="2880946" y="1328133"/>
                    <a:pt x="2946888" y="1615348"/>
                    <a:pt x="2989384" y="1829294"/>
                  </a:cubicBezTo>
                </a:path>
              </a:pathLst>
            </a:custGeom>
            <a:noFill/>
            <a:ln w="285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AADB97-2F95-4012-AD96-A850A1F1A639}"/>
                </a:ext>
              </a:extLst>
            </p:cNvPr>
            <p:cNvSpPr/>
            <p:nvPr/>
          </p:nvSpPr>
          <p:spPr>
            <a:xfrm>
              <a:off x="4270260" y="3512293"/>
              <a:ext cx="5436348" cy="1535140"/>
            </a:xfrm>
            <a:custGeom>
              <a:avLst/>
              <a:gdLst>
                <a:gd name="connsiteX0" fmla="*/ 0 w 4167553"/>
                <a:gd name="connsiteY0" fmla="*/ 44029 h 2004713"/>
                <a:gd name="connsiteX1" fmla="*/ 870438 w 4167553"/>
                <a:gd name="connsiteY1" fmla="*/ 67 h 2004713"/>
                <a:gd name="connsiteX2" fmla="*/ 1696915 w 4167553"/>
                <a:gd name="connsiteY2" fmla="*/ 52821 h 2004713"/>
                <a:gd name="connsiteX3" fmla="*/ 2435469 w 4167553"/>
                <a:gd name="connsiteY3" fmla="*/ 272629 h 2004713"/>
                <a:gd name="connsiteX4" fmla="*/ 2980592 w 4167553"/>
                <a:gd name="connsiteY4" fmla="*/ 589152 h 2004713"/>
                <a:gd name="connsiteX5" fmla="*/ 3402623 w 4167553"/>
                <a:gd name="connsiteY5" fmla="*/ 923259 h 2004713"/>
                <a:gd name="connsiteX6" fmla="*/ 3798277 w 4167553"/>
                <a:gd name="connsiteY6" fmla="*/ 1424421 h 2004713"/>
                <a:gd name="connsiteX7" fmla="*/ 4167553 w 4167553"/>
                <a:gd name="connsiteY7" fmla="*/ 2004713 h 2004713"/>
                <a:gd name="connsiteX0" fmla="*/ 0 w 3798277"/>
                <a:gd name="connsiteY0" fmla="*/ 44029 h 1424421"/>
                <a:gd name="connsiteX1" fmla="*/ 870438 w 3798277"/>
                <a:gd name="connsiteY1" fmla="*/ 67 h 1424421"/>
                <a:gd name="connsiteX2" fmla="*/ 1696915 w 3798277"/>
                <a:gd name="connsiteY2" fmla="*/ 52821 h 1424421"/>
                <a:gd name="connsiteX3" fmla="*/ 2435469 w 3798277"/>
                <a:gd name="connsiteY3" fmla="*/ 272629 h 1424421"/>
                <a:gd name="connsiteX4" fmla="*/ 2980592 w 3798277"/>
                <a:gd name="connsiteY4" fmla="*/ 589152 h 1424421"/>
                <a:gd name="connsiteX5" fmla="*/ 3402623 w 3798277"/>
                <a:gd name="connsiteY5" fmla="*/ 923259 h 1424421"/>
                <a:gd name="connsiteX6" fmla="*/ 3798277 w 3798277"/>
                <a:gd name="connsiteY6" fmla="*/ 1424421 h 142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8277" h="1424421">
                  <a:moveTo>
                    <a:pt x="0" y="44029"/>
                  </a:moveTo>
                  <a:cubicBezTo>
                    <a:pt x="293809" y="21315"/>
                    <a:pt x="587619" y="-1398"/>
                    <a:pt x="870438" y="67"/>
                  </a:cubicBezTo>
                  <a:cubicBezTo>
                    <a:pt x="1153257" y="1532"/>
                    <a:pt x="1436076" y="7394"/>
                    <a:pt x="1696915" y="52821"/>
                  </a:cubicBezTo>
                  <a:cubicBezTo>
                    <a:pt x="1957754" y="98248"/>
                    <a:pt x="2221523" y="183241"/>
                    <a:pt x="2435469" y="272629"/>
                  </a:cubicBezTo>
                  <a:cubicBezTo>
                    <a:pt x="2649415" y="362018"/>
                    <a:pt x="2819400" y="480714"/>
                    <a:pt x="2980592" y="589152"/>
                  </a:cubicBezTo>
                  <a:cubicBezTo>
                    <a:pt x="3141784" y="697590"/>
                    <a:pt x="3266342" y="784048"/>
                    <a:pt x="3402623" y="923259"/>
                  </a:cubicBezTo>
                  <a:cubicBezTo>
                    <a:pt x="3538904" y="1062470"/>
                    <a:pt x="3670789" y="1244179"/>
                    <a:pt x="3798277" y="1424421"/>
                  </a:cubicBezTo>
                </a:path>
              </a:pathLst>
            </a:custGeom>
            <a:noFill/>
            <a:ln w="285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63C1FF4-9FF3-425C-A4B6-3A7396D5734F}"/>
                </a:ext>
              </a:extLst>
            </p:cNvPr>
            <p:cNvSpPr/>
            <p:nvPr/>
          </p:nvSpPr>
          <p:spPr>
            <a:xfrm>
              <a:off x="2279872" y="4753685"/>
              <a:ext cx="5398596" cy="957050"/>
            </a:xfrm>
            <a:custGeom>
              <a:avLst/>
              <a:gdLst>
                <a:gd name="connsiteX0" fmla="*/ 0 w 3771900"/>
                <a:gd name="connsiteY0" fmla="*/ 0 h 888024"/>
                <a:gd name="connsiteX1" fmla="*/ 641839 w 3771900"/>
                <a:gd name="connsiteY1" fmla="*/ 8793 h 888024"/>
                <a:gd name="connsiteX2" fmla="*/ 1494693 w 3771900"/>
                <a:gd name="connsiteY2" fmla="*/ 61547 h 888024"/>
                <a:gd name="connsiteX3" fmla="*/ 2180493 w 3771900"/>
                <a:gd name="connsiteY3" fmla="*/ 202224 h 888024"/>
                <a:gd name="connsiteX4" fmla="*/ 2875085 w 3771900"/>
                <a:gd name="connsiteY4" fmla="*/ 430824 h 888024"/>
                <a:gd name="connsiteX5" fmla="*/ 3613639 w 3771900"/>
                <a:gd name="connsiteY5" fmla="*/ 808893 h 888024"/>
                <a:gd name="connsiteX6" fmla="*/ 3771900 w 3771900"/>
                <a:gd name="connsiteY6" fmla="*/ 888024 h 888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71900" h="888024">
                  <a:moveTo>
                    <a:pt x="0" y="0"/>
                  </a:moveTo>
                  <a:lnTo>
                    <a:pt x="641839" y="8793"/>
                  </a:lnTo>
                  <a:cubicBezTo>
                    <a:pt x="890954" y="19051"/>
                    <a:pt x="1238251" y="29309"/>
                    <a:pt x="1494693" y="61547"/>
                  </a:cubicBezTo>
                  <a:cubicBezTo>
                    <a:pt x="1751135" y="93785"/>
                    <a:pt x="1950428" y="140678"/>
                    <a:pt x="2180493" y="202224"/>
                  </a:cubicBezTo>
                  <a:cubicBezTo>
                    <a:pt x="2410558" y="263770"/>
                    <a:pt x="2636227" y="329713"/>
                    <a:pt x="2875085" y="430824"/>
                  </a:cubicBezTo>
                  <a:cubicBezTo>
                    <a:pt x="3113943" y="531935"/>
                    <a:pt x="3613639" y="808893"/>
                    <a:pt x="3613639" y="808893"/>
                  </a:cubicBezTo>
                  <a:lnTo>
                    <a:pt x="3771900" y="888024"/>
                  </a:lnTo>
                </a:path>
              </a:pathLst>
            </a:custGeom>
            <a:noFill/>
            <a:ln w="285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CC3F94B-13D3-4AC7-B68F-8E5413F61D3A}"/>
                </a:ext>
              </a:extLst>
            </p:cNvPr>
            <p:cNvSpPr/>
            <p:nvPr/>
          </p:nvSpPr>
          <p:spPr>
            <a:xfrm rot="2393287">
              <a:off x="9768438" y="887877"/>
              <a:ext cx="1814512" cy="5112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78AFAF7-D7C3-4338-9E75-684A94BEB912}"/>
                </a:ext>
              </a:extLst>
            </p:cNvPr>
            <p:cNvSpPr/>
            <p:nvPr/>
          </p:nvSpPr>
          <p:spPr>
            <a:xfrm rot="693832">
              <a:off x="9053393" y="559052"/>
              <a:ext cx="1146682" cy="5112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F61474A-9486-4C05-8778-F92C83629CE6}"/>
                </a:ext>
              </a:extLst>
            </p:cNvPr>
            <p:cNvSpPr/>
            <p:nvPr/>
          </p:nvSpPr>
          <p:spPr>
            <a:xfrm rot="693832">
              <a:off x="9408283" y="524167"/>
              <a:ext cx="83137" cy="5112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21407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BCD59C7-AC15-4186-89E2-7DF6C23634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7025"/>
            <a:ext cx="11668125" cy="580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4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FC57EF-3ADA-4D2B-BE4D-3EAE637ADE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846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check out this compressor map and tell me what you think | Page 25 | VW  Vortex - Volkswagen Forum">
            <a:extLst>
              <a:ext uri="{FF2B5EF4-FFF2-40B4-BE49-F238E27FC236}">
                <a16:creationId xmlns:a16="http://schemas.microsoft.com/office/drawing/2014/main" id="{4E6EEF41-BFAA-456E-BF2F-CCA15026B5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714" y="876300"/>
            <a:ext cx="8857836" cy="568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317421-AE5C-4B65-AD98-22511F0548BA}"/>
              </a:ext>
            </a:extLst>
          </p:cNvPr>
          <p:cNvSpPr/>
          <p:nvPr/>
        </p:nvSpPr>
        <p:spPr>
          <a:xfrm>
            <a:off x="-605831" y="0"/>
            <a:ext cx="3192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dirty="0">
                <a:solidFill>
                  <a:srgbClr val="383A3B"/>
                </a:solidFill>
                <a:latin typeface="segoe ui" panose="020B0502040204020203" pitchFamily="34" charset="0"/>
              </a:rPr>
              <a:t>Borg Warner K16 Compress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275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003A14-6BB5-4549-9139-D2805F20FD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398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813100-AB87-4BC9-9EE2-1C9DD4296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dirty="0"/>
              <a:t>Garret 3076R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38DAA7-BDA9-4B39-88CA-4071F69C2E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508" y="0"/>
            <a:ext cx="5717391" cy="6683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5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3</TotalTime>
  <Words>6</Words>
  <Application>Microsoft Office PowerPoint</Application>
  <PresentationFormat>Widescreen</PresentationFormat>
  <Paragraphs>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Garret 3076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cangoz, Mehmet</dc:creator>
  <cp:lastModifiedBy>Buse Korkmaz</cp:lastModifiedBy>
  <cp:revision>15</cp:revision>
  <dcterms:created xsi:type="dcterms:W3CDTF">2021-06-07T21:05:44Z</dcterms:created>
  <dcterms:modified xsi:type="dcterms:W3CDTF">2021-06-27T20:26:41Z</dcterms:modified>
</cp:coreProperties>
</file>